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2.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33.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4.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5.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6.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37.xml" ContentType="application/vnd.openxmlformats-officedocument.presentationml.tags+xml"/>
  <Override PartName="/ppt/charts/chart22.xml" ContentType="application/vnd.openxmlformats-officedocument.drawingml.chart+xml"/>
  <Override PartName="/ppt/tags/tag38.xml" ContentType="application/vnd.openxmlformats-officedocument.presentationml.tags+xml"/>
  <Override PartName="/ppt/charts/chart23.xml" ContentType="application/vnd.openxmlformats-officedocument.drawingml.chart+xml"/>
  <Override PartName="/ppt/tags/tag39.xml" ContentType="application/vnd.openxmlformats-officedocument.presentationml.tags+xml"/>
  <Override PartName="/ppt/charts/chart24.xml" ContentType="application/vnd.openxmlformats-officedocument.drawingml.chart+xml"/>
  <Override PartName="/ppt/tags/tag40.xml" ContentType="application/vnd.openxmlformats-officedocument.presentationml.tags+xml"/>
  <Override PartName="/ppt/charts/chart25.xml" ContentType="application/vnd.openxmlformats-officedocument.drawingml.chart+xml"/>
  <Override PartName="/ppt/tags/tag41.xml" ContentType="application/vnd.openxmlformats-officedocument.presentationml.tags+xml"/>
  <Override PartName="/ppt/charts/chart26.xml" ContentType="application/vnd.openxmlformats-officedocument.drawingml.chart+xml"/>
  <Override PartName="/ppt/tags/tag42.xml" ContentType="application/vnd.openxmlformats-officedocument.presentationml.tags+xml"/>
  <Override PartName="/ppt/charts/chart27.xml" ContentType="application/vnd.openxmlformats-officedocument.drawingml.chart+xml"/>
  <Override PartName="/ppt/tags/tag43.xml" ContentType="application/vnd.openxmlformats-officedocument.presentationml.tags+xml"/>
  <Override PartName="/ppt/charts/chart28.xml" ContentType="application/vnd.openxmlformats-officedocument.drawingml.chart+xml"/>
  <Override PartName="/ppt/tags/tag44.xml" ContentType="application/vnd.openxmlformats-officedocument.presentationml.tags+xml"/>
  <Override PartName="/ppt/charts/chart29.xml" ContentType="application/vnd.openxmlformats-officedocument.drawingml.chart+xml"/>
  <Override PartName="/ppt/tags/tag45.xml" ContentType="application/vnd.openxmlformats-officedocument.presentationml.tags+xml"/>
  <Override PartName="/ppt/charts/chart30.xml" ContentType="application/vnd.openxmlformats-officedocument.drawingml.chart+xml"/>
  <Override PartName="/ppt/tags/tag46.xml" ContentType="application/vnd.openxmlformats-officedocument.presentationml.tags+xml"/>
  <Override PartName="/ppt/charts/chart31.xml" ContentType="application/vnd.openxmlformats-officedocument.drawingml.chart+xml"/>
  <Override PartName="/ppt/tags/tag47.xml" ContentType="application/vnd.openxmlformats-officedocument.presentationml.tags+xml"/>
  <Override PartName="/ppt/charts/chart32.xml" ContentType="application/vnd.openxmlformats-officedocument.drawingml.chart+xml"/>
  <Override PartName="/ppt/tags/tag48.xml" ContentType="application/vnd.openxmlformats-officedocument.presentationml.tags+xml"/>
  <Override PartName="/ppt/charts/chart33.xml" ContentType="application/vnd.openxmlformats-officedocument.drawingml.chart+xml"/>
  <Override PartName="/ppt/tags/tag49.xml" ContentType="application/vnd.openxmlformats-officedocument.presentationml.tags+xml"/>
  <Override PartName="/ppt/charts/chart34.xml" ContentType="application/vnd.openxmlformats-officedocument.drawingml.chart+xml"/>
  <Override PartName="/ppt/tags/tag50.xml" ContentType="application/vnd.openxmlformats-officedocument.presentationml.tags+xml"/>
  <Override PartName="/ppt/charts/chart35.xml" ContentType="application/vnd.openxmlformats-officedocument.drawingml.chart+xml"/>
  <Override PartName="/ppt/tags/tag51.xml" ContentType="application/vnd.openxmlformats-officedocument.presentationml.tags+xml"/>
  <Override PartName="/ppt/charts/chart36.xml" ContentType="application/vnd.openxmlformats-officedocument.drawingml.chart+xml"/>
  <Override PartName="/ppt/tags/tag52.xml" ContentType="application/vnd.openxmlformats-officedocument.presentationml.tags+xml"/>
  <Override PartName="/ppt/charts/chart37.xml" ContentType="application/vnd.openxmlformats-officedocument.drawingml.chart+xml"/>
  <Override PartName="/ppt/tags/tag53.xml" ContentType="application/vnd.openxmlformats-officedocument.presentationml.tags+xml"/>
  <Override PartName="/ppt/charts/chart38.xml" ContentType="application/vnd.openxmlformats-officedocument.drawingml.chart+xml"/>
  <Override PartName="/ppt/tags/tag54.xml" ContentType="application/vnd.openxmlformats-officedocument.presentationml.tags+xml"/>
  <Override PartName="/ppt/charts/chart39.xml" ContentType="application/vnd.openxmlformats-officedocument.drawingml.chart+xml"/>
  <Override PartName="/ppt/tags/tag55.xml" ContentType="application/vnd.openxmlformats-officedocument.presentationml.tags+xml"/>
  <Override PartName="/ppt/charts/chart40.xml" ContentType="application/vnd.openxmlformats-officedocument.drawingml.chart+xml"/>
  <Override PartName="/ppt/tags/tag56.xml" ContentType="application/vnd.openxmlformats-officedocument.presentationml.tags+xml"/>
  <Override PartName="/ppt/charts/chart41.xml" ContentType="application/vnd.openxmlformats-officedocument.drawingml.chart+xml"/>
  <Override PartName="/ppt/tags/tag57.xml" ContentType="application/vnd.openxmlformats-officedocument.presentationml.tags+xml"/>
  <Override PartName="/ppt/charts/chart42.xml" ContentType="application/vnd.openxmlformats-officedocument.drawingml.chart+xml"/>
  <Override PartName="/ppt/tags/tag58.xml" ContentType="application/vnd.openxmlformats-officedocument.presentationml.tags+xml"/>
  <Override PartName="/ppt/charts/chart43.xml" ContentType="application/vnd.openxmlformats-officedocument.drawingml.chart+xml"/>
  <Override PartName="/ppt/tags/tag59.xml" ContentType="application/vnd.openxmlformats-officedocument.presentationml.tags+xml"/>
  <Override PartName="/ppt/charts/chart44.xml" ContentType="application/vnd.openxmlformats-officedocument.drawingml.chart+xml"/>
  <Override PartName="/ppt/tags/tag60.xml" ContentType="application/vnd.openxmlformats-officedocument.presentationml.tags+xml"/>
  <Override PartName="/ppt/charts/chart45.xml" ContentType="application/vnd.openxmlformats-officedocument.drawingml.chart+xml"/>
  <Override PartName="/ppt/tags/tag61.xml" ContentType="application/vnd.openxmlformats-officedocument.presentationml.tags+xml"/>
  <Override PartName="/ppt/charts/chart46.xml" ContentType="application/vnd.openxmlformats-officedocument.drawingml.chart+xml"/>
  <Override PartName="/ppt/tags/tag62.xml" ContentType="application/vnd.openxmlformats-officedocument.presentationml.tags+xml"/>
  <Override PartName="/ppt/charts/chart47.xml" ContentType="application/vnd.openxmlformats-officedocument.drawingml.chart+xml"/>
  <Override PartName="/ppt/tags/tag63.xml" ContentType="application/vnd.openxmlformats-officedocument.presentationml.tags+xml"/>
  <Override PartName="/ppt/charts/chart48.xml" ContentType="application/vnd.openxmlformats-officedocument.drawingml.chart+xml"/>
  <Override PartName="/ppt/tags/tag64.xml" ContentType="application/vnd.openxmlformats-officedocument.presentationml.tags+xml"/>
  <Override PartName="/ppt/charts/chart49.xml" ContentType="application/vnd.openxmlformats-officedocument.drawingml.chart+xml"/>
  <Override PartName="/ppt/tags/tag65.xml" ContentType="application/vnd.openxmlformats-officedocument.presentationml.tags+xml"/>
  <Override PartName="/ppt/charts/chart50.xml" ContentType="application/vnd.openxmlformats-officedocument.drawingml.chart+xml"/>
  <Override PartName="/ppt/tags/tag66.xml" ContentType="application/vnd.openxmlformats-officedocument.presentationml.tags+xml"/>
  <Override PartName="/ppt/charts/chart51.xml" ContentType="application/vnd.openxmlformats-officedocument.drawingml.chart+xml"/>
  <Override PartName="/ppt/tags/tag67.xml" ContentType="application/vnd.openxmlformats-officedocument.presentationml.tags+xml"/>
  <Override PartName="/ppt/charts/chart52.xml" ContentType="application/vnd.openxmlformats-officedocument.drawingml.chart+xml"/>
  <Override PartName="/ppt/tags/tag68.xml" ContentType="application/vnd.openxmlformats-officedocument.presentationml.tags+xml"/>
  <Override PartName="/ppt/charts/chart53.xml" ContentType="application/vnd.openxmlformats-officedocument.drawingml.chart+xml"/>
  <Override PartName="/ppt/tags/tag69.xml" ContentType="application/vnd.openxmlformats-officedocument.presentationml.tags+xml"/>
  <Override PartName="/ppt/charts/chart54.xml" ContentType="application/vnd.openxmlformats-officedocument.drawingml.chart+xml"/>
  <Override PartName="/ppt/tags/tag70.xml" ContentType="application/vnd.openxmlformats-officedocument.presentationml.tags+xml"/>
  <Override PartName="/ppt/charts/chart55.xml" ContentType="application/vnd.openxmlformats-officedocument.drawingml.chart+xml"/>
  <Override PartName="/ppt/tags/tag71.xml" ContentType="application/vnd.openxmlformats-officedocument.presentationml.tags+xml"/>
  <Override PartName="/ppt/charts/chart56.xml" ContentType="application/vnd.openxmlformats-officedocument.drawingml.chart+xml"/>
  <Override PartName="/ppt/tags/tag72.xml" ContentType="application/vnd.openxmlformats-officedocument.presentationml.tags+xml"/>
  <Override PartName="/ppt/charts/chart57.xml" ContentType="application/vnd.openxmlformats-officedocument.drawingml.chart+xml"/>
  <Override PartName="/ppt/tags/tag73.xml" ContentType="application/vnd.openxmlformats-officedocument.presentationml.tags+xml"/>
  <Override PartName="/ppt/charts/chart58.xml" ContentType="application/vnd.openxmlformats-officedocument.drawingml.chart+xml"/>
  <Override PartName="/ppt/tags/tag74.xml" ContentType="application/vnd.openxmlformats-officedocument.presentationml.tags+xml"/>
  <Override PartName="/ppt/charts/chart59.xml" ContentType="application/vnd.openxmlformats-officedocument.drawingml.chart+xml"/>
  <Override PartName="/ppt/tags/tag75.xml" ContentType="application/vnd.openxmlformats-officedocument.presentationml.tags+xml"/>
  <Override PartName="/ppt/charts/chart60.xml" ContentType="application/vnd.openxmlformats-officedocument.drawingml.chart+xml"/>
  <Override PartName="/ppt/tags/tag76.xml" ContentType="application/vnd.openxmlformats-officedocument.presentationml.tags+xml"/>
  <Override PartName="/ppt/charts/chart61.xml" ContentType="application/vnd.openxmlformats-officedocument.drawingml.chart+xml"/>
  <Override PartName="/ppt/tags/tag77.xml" ContentType="application/vnd.openxmlformats-officedocument.presentationml.tags+xml"/>
  <Override PartName="/ppt/charts/chart62.xml" ContentType="application/vnd.openxmlformats-officedocument.drawingml.chart+xml"/>
  <Override PartName="/ppt/tags/tag78.xml" ContentType="application/vnd.openxmlformats-officedocument.presentationml.tags+xml"/>
  <Override PartName="/ppt/charts/chart63.xml" ContentType="application/vnd.openxmlformats-officedocument.drawingml.chart+xml"/>
  <Override PartName="/ppt/tags/tag79.xml" ContentType="application/vnd.openxmlformats-officedocument.presentationml.tags+xml"/>
  <Override PartName="/ppt/notesSlides/notesSlide1.xml" ContentType="application/vnd.openxmlformats-officedocument.presentationml.notesSlide+xml"/>
  <Override PartName="/ppt/tags/tag80.xml" ContentType="application/vnd.openxmlformats-officedocument.presentationml.tags+xml"/>
  <Override PartName="/ppt/notesSlides/notesSlide2.xml" ContentType="application/vnd.openxmlformats-officedocument.presentationml.notesSlide+xml"/>
  <Override PartName="/ppt/tags/tag81.xml" ContentType="application/vnd.openxmlformats-officedocument.presentationml.tags+xml"/>
  <Override PartName="/ppt/notesSlides/notesSlide3.xml" ContentType="application/vnd.openxmlformats-officedocument.presentationml.notesSlide+xml"/>
  <Override PartName="/ppt/tags/tag82.xml" ContentType="application/vnd.openxmlformats-officedocument.presentationml.tags+xml"/>
  <Override PartName="/ppt/notesSlides/notesSlide4.xml" ContentType="application/vnd.openxmlformats-officedocument.presentationml.notesSlide+xml"/>
  <Override PartName="/ppt/tags/tag83.xml" ContentType="application/vnd.openxmlformats-officedocument.presentationml.tags+xml"/>
  <Override PartName="/ppt/notesSlides/notesSlide5.xml" ContentType="application/vnd.openxmlformats-officedocument.presentationml.notesSlide+xml"/>
  <Override PartName="/ppt/tags/tag84.xml" ContentType="application/vnd.openxmlformats-officedocument.presentationml.tags+xml"/>
  <Override PartName="/ppt/notesSlides/notesSlide6.xml" ContentType="application/vnd.openxmlformats-officedocument.presentationml.notesSlide+xml"/>
  <Override PartName="/ppt/tags/tag85.xml" ContentType="application/vnd.openxmlformats-officedocument.presentationml.tags+xml"/>
  <Override PartName="/ppt/notesSlides/notesSlide7.xml" ContentType="application/vnd.openxmlformats-officedocument.presentationml.notesSlide+xml"/>
  <Override PartName="/ppt/tags/tag86.xml" ContentType="application/vnd.openxmlformats-officedocument.presentationml.tags+xml"/>
  <Override PartName="/ppt/notesSlides/notesSlide8.xml" ContentType="application/vnd.openxmlformats-officedocument.presentationml.notesSlide+xml"/>
  <Override PartName="/ppt/tags/tag87.xml" ContentType="application/vnd.openxmlformats-officedocument.presentationml.tags+xml"/>
  <Override PartName="/ppt/notesSlides/notesSlide9.xml" ContentType="application/vnd.openxmlformats-officedocument.presentationml.notesSlide+xml"/>
  <Override PartName="/ppt/tags/tag88.xml" ContentType="application/vnd.openxmlformats-officedocument.presentationml.tags+xml"/>
  <Override PartName="/ppt/notesSlides/notesSlide10.xml" ContentType="application/vnd.openxmlformats-officedocument.presentationml.notesSlide+xml"/>
  <Override PartName="/ppt/tags/tag89.xml" ContentType="application/vnd.openxmlformats-officedocument.presentationml.tags+xml"/>
  <Override PartName="/ppt/notesSlides/notesSlide11.xml" ContentType="application/vnd.openxmlformats-officedocument.presentationml.notesSlide+xml"/>
  <Override PartName="/ppt/tags/tag90.xml" ContentType="application/vnd.openxmlformats-officedocument.presentationml.tags+xml"/>
  <Override PartName="/ppt/notesSlides/notesSlide12.xml" ContentType="application/vnd.openxmlformats-officedocument.presentationml.notesSlide+xml"/>
  <Override PartName="/ppt/tags/tag91.xml" ContentType="application/vnd.openxmlformats-officedocument.presentationml.tags+xml"/>
  <Override PartName="/ppt/notesSlides/notesSlide13.xml" ContentType="application/vnd.openxmlformats-officedocument.presentationml.notesSlide+xml"/>
  <Override PartName="/ppt/charts/chart64.xml" ContentType="application/vnd.openxmlformats-officedocument.drawingml.chart+xml"/>
  <Override PartName="/ppt/charts/style1.xml" ContentType="application/vnd.ms-office.chartstyle+xml"/>
  <Override PartName="/ppt/charts/colors1.xml" ContentType="application/vnd.ms-office.chartcolorstyle+xml"/>
  <Override PartName="/ppt/tags/tag92.xml" ContentType="application/vnd.openxmlformats-officedocument.presentationml.tags+xml"/>
  <Override PartName="/ppt/notesSlides/notesSlide14.xml" ContentType="application/vnd.openxmlformats-officedocument.presentationml.notesSlide+xml"/>
  <Override PartName="/ppt/charts/chart65.xml" ContentType="application/vnd.openxmlformats-officedocument.drawingml.chart+xml"/>
  <Override PartName="/ppt/charts/style2.xml" ContentType="application/vnd.ms-office.chartstyle+xml"/>
  <Override PartName="/ppt/charts/colors2.xml" ContentType="application/vnd.ms-office.chartcolorstyle+xml"/>
  <Override PartName="/ppt/tags/tag93.xml" ContentType="application/vnd.openxmlformats-officedocument.presentationml.tags+xml"/>
  <Override PartName="/ppt/notesSlides/notesSlide15.xml" ContentType="application/vnd.openxmlformats-officedocument.presentationml.notesSlide+xml"/>
  <Override PartName="/ppt/charts/chart66.xml" ContentType="application/vnd.openxmlformats-officedocument.drawingml.chart+xml"/>
  <Override PartName="/ppt/charts/style3.xml" ContentType="application/vnd.ms-office.chartstyle+xml"/>
  <Override PartName="/ppt/charts/colors3.xml" ContentType="application/vnd.ms-office.chartcolorstyle+xml"/>
  <Override PartName="/ppt/tags/tag94.xml" ContentType="application/vnd.openxmlformats-officedocument.presentationml.tags+xml"/>
  <Override PartName="/ppt/notesSlides/notesSlide16.xml" ContentType="application/vnd.openxmlformats-officedocument.presentationml.notesSlide+xml"/>
  <Override PartName="/ppt/charts/chart67.xml" ContentType="application/vnd.openxmlformats-officedocument.drawingml.chart+xml"/>
  <Override PartName="/ppt/charts/style4.xml" ContentType="application/vnd.ms-office.chartstyle+xml"/>
  <Override PartName="/ppt/charts/colors4.xml" ContentType="application/vnd.ms-office.chartcolorstyle+xml"/>
  <Override PartName="/ppt/tags/tag95.xml" ContentType="application/vnd.openxmlformats-officedocument.presentationml.tags+xml"/>
  <Override PartName="/ppt/notesSlides/notesSlide17.xml" ContentType="application/vnd.openxmlformats-officedocument.presentationml.notesSlide+xml"/>
  <Override PartName="/ppt/charts/chart68.xml" ContentType="application/vnd.openxmlformats-officedocument.drawingml.chart+xml"/>
  <Override PartName="/ppt/charts/style5.xml" ContentType="application/vnd.ms-office.chartstyle+xml"/>
  <Override PartName="/ppt/charts/colors5.xml" ContentType="application/vnd.ms-office.chartcolorstyle+xml"/>
  <Override PartName="/ppt/tags/tag96.xml" ContentType="application/vnd.openxmlformats-officedocument.presentationml.tags+xml"/>
  <Override PartName="/ppt/notesSlides/notesSlide18.xml" ContentType="application/vnd.openxmlformats-officedocument.presentationml.notesSlide+xml"/>
  <Override PartName="/ppt/charts/chart69.xml" ContentType="application/vnd.openxmlformats-officedocument.drawingml.chart+xml"/>
  <Override PartName="/ppt/charts/style6.xml" ContentType="application/vnd.ms-office.chartstyle+xml"/>
  <Override PartName="/ppt/charts/colors6.xml" ContentType="application/vnd.ms-office.chartcolorstyle+xml"/>
  <Override PartName="/ppt/tags/tag97.xml" ContentType="application/vnd.openxmlformats-officedocument.presentationml.tags+xml"/>
  <Override PartName="/ppt/notesSlides/notesSlide19.xml" ContentType="application/vnd.openxmlformats-officedocument.presentationml.notesSlide+xml"/>
  <Override PartName="/ppt/charts/chart70.xml" ContentType="application/vnd.openxmlformats-officedocument.drawingml.chart+xml"/>
  <Override PartName="/ppt/charts/style7.xml" ContentType="application/vnd.ms-office.chartstyle+xml"/>
  <Override PartName="/ppt/charts/colors7.xml" ContentType="application/vnd.ms-office.chartcolorstyle+xml"/>
  <Override PartName="/ppt/tags/tag98.xml" ContentType="application/vnd.openxmlformats-officedocument.presentationml.tags+xml"/>
  <Override PartName="/ppt/notesSlides/notesSlide20.xml" ContentType="application/vnd.openxmlformats-officedocument.presentationml.notesSlide+xml"/>
  <Override PartName="/ppt/charts/chart71.xml" ContentType="application/vnd.openxmlformats-officedocument.drawingml.chart+xml"/>
  <Override PartName="/ppt/charts/style8.xml" ContentType="application/vnd.ms-office.chartstyle+xml"/>
  <Override PartName="/ppt/charts/colors8.xml" ContentType="application/vnd.ms-office.chartcolorstyle+xml"/>
  <Override PartName="/ppt/tags/tag99.xml" ContentType="application/vnd.openxmlformats-officedocument.presentationml.tags+xml"/>
  <Override PartName="/ppt/notesSlides/notesSlide21.xml" ContentType="application/vnd.openxmlformats-officedocument.presentationml.notesSlide+xml"/>
  <Override PartName="/ppt/charts/chart72.xml" ContentType="application/vnd.openxmlformats-officedocument.drawingml.chart+xml"/>
  <Override PartName="/ppt/charts/style9.xml" ContentType="application/vnd.ms-office.chartstyle+xml"/>
  <Override PartName="/ppt/charts/colors9.xml" ContentType="application/vnd.ms-office.chartcolorstyle+xml"/>
  <Override PartName="/ppt/tags/tag100.xml" ContentType="application/vnd.openxmlformats-officedocument.presentationml.tags+xml"/>
  <Override PartName="/ppt/notesSlides/notesSlide22.xml" ContentType="application/vnd.openxmlformats-officedocument.presentationml.notesSlide+xml"/>
  <Override PartName="/ppt/charts/chart73.xml" ContentType="application/vnd.openxmlformats-officedocument.drawingml.chart+xml"/>
  <Override PartName="/ppt/charts/style10.xml" ContentType="application/vnd.ms-office.chartstyle+xml"/>
  <Override PartName="/ppt/charts/colors10.xml" ContentType="application/vnd.ms-office.chartcolorstyle+xml"/>
  <Override PartName="/ppt/tags/tag101.xml" ContentType="application/vnd.openxmlformats-officedocument.presentationml.tags+xml"/>
  <Override PartName="/ppt/notesSlides/notesSlide23.xml" ContentType="application/vnd.openxmlformats-officedocument.presentationml.notesSlide+xml"/>
  <Override PartName="/ppt/charts/chart74.xml" ContentType="application/vnd.openxmlformats-officedocument.drawingml.chart+xml"/>
  <Override PartName="/ppt/charts/style11.xml" ContentType="application/vnd.ms-office.chartstyle+xml"/>
  <Override PartName="/ppt/charts/colors11.xml" ContentType="application/vnd.ms-office.chartcolorstyle+xml"/>
  <Override PartName="/ppt/tags/tag102.xml" ContentType="application/vnd.openxmlformats-officedocument.presentationml.tags+xml"/>
  <Override PartName="/ppt/notesSlides/notesSlide24.xml" ContentType="application/vnd.openxmlformats-officedocument.presentationml.notesSlide+xml"/>
  <Override PartName="/ppt/charts/chart75.xml" ContentType="application/vnd.openxmlformats-officedocument.drawingml.chart+xml"/>
  <Override PartName="/ppt/charts/style12.xml" ContentType="application/vnd.ms-office.chartstyle+xml"/>
  <Override PartName="/ppt/charts/colors12.xml" ContentType="application/vnd.ms-office.chartcolorstyle+xml"/>
  <Override PartName="/ppt/tags/tag103.xml" ContentType="application/vnd.openxmlformats-officedocument.presentationml.tags+xml"/>
  <Override PartName="/ppt/notesSlides/notesSlide25.xml" ContentType="application/vnd.openxmlformats-officedocument.presentationml.notesSlide+xml"/>
  <Override PartName="/ppt/charts/chart76.xml" ContentType="application/vnd.openxmlformats-officedocument.drawingml.chart+xml"/>
  <Override PartName="/ppt/charts/style13.xml" ContentType="application/vnd.ms-office.chartstyle+xml"/>
  <Override PartName="/ppt/charts/colors13.xml" ContentType="application/vnd.ms-office.chartcolorstyle+xml"/>
  <Override PartName="/ppt/tags/tag104.xml" ContentType="application/vnd.openxmlformats-officedocument.presentationml.tags+xml"/>
  <Override PartName="/ppt/notesSlides/notesSlide26.xml" ContentType="application/vnd.openxmlformats-officedocument.presentationml.notesSlide+xml"/>
  <Override PartName="/ppt/charts/chart77.xml" ContentType="application/vnd.openxmlformats-officedocument.drawingml.chart+xml"/>
  <Override PartName="/ppt/charts/style14.xml" ContentType="application/vnd.ms-office.chartstyle+xml"/>
  <Override PartName="/ppt/charts/colors14.xml" ContentType="application/vnd.ms-office.chartcolorstyle+xml"/>
  <Override PartName="/ppt/tags/tag105.xml" ContentType="application/vnd.openxmlformats-officedocument.presentationml.tags+xml"/>
  <Override PartName="/ppt/notesSlides/notesSlide27.xml" ContentType="application/vnd.openxmlformats-officedocument.presentationml.notesSlide+xml"/>
  <Override PartName="/ppt/charts/chart78.xml" ContentType="application/vnd.openxmlformats-officedocument.drawingml.chart+xml"/>
  <Override PartName="/ppt/charts/style15.xml" ContentType="application/vnd.ms-office.chartstyle+xml"/>
  <Override PartName="/ppt/charts/colors15.xml" ContentType="application/vnd.ms-office.chartcolorstyle+xml"/>
  <Override PartName="/ppt/tags/tag106.xml" ContentType="application/vnd.openxmlformats-officedocument.presentationml.tags+xml"/>
  <Override PartName="/ppt/notesSlides/notesSlide28.xml" ContentType="application/vnd.openxmlformats-officedocument.presentationml.notesSlide+xml"/>
  <Override PartName="/ppt/charts/chart79.xml" ContentType="application/vnd.openxmlformats-officedocument.drawingml.chart+xml"/>
  <Override PartName="/ppt/charts/style16.xml" ContentType="application/vnd.ms-office.chartstyle+xml"/>
  <Override PartName="/ppt/charts/colors16.xml" ContentType="application/vnd.ms-office.chartcolorstyle+xml"/>
  <Override PartName="/ppt/tags/tag107.xml" ContentType="application/vnd.openxmlformats-officedocument.presentationml.tags+xml"/>
  <Override PartName="/ppt/notesSlides/notesSlide29.xml" ContentType="application/vnd.openxmlformats-officedocument.presentationml.notesSlide+xml"/>
  <Override PartName="/ppt/charts/chart80.xml" ContentType="application/vnd.openxmlformats-officedocument.drawingml.chart+xml"/>
  <Override PartName="/ppt/charts/style17.xml" ContentType="application/vnd.ms-office.chartstyle+xml"/>
  <Override PartName="/ppt/charts/colors17.xml" ContentType="application/vnd.ms-office.chartcolorstyle+xml"/>
  <Override PartName="/ppt/tags/tag108.xml" ContentType="application/vnd.openxmlformats-officedocument.presentationml.tags+xml"/>
  <Override PartName="/ppt/notesSlides/notesSlide30.xml" ContentType="application/vnd.openxmlformats-officedocument.presentationml.notesSlide+xml"/>
  <Override PartName="/ppt/charts/chart81.xml" ContentType="application/vnd.openxmlformats-officedocument.drawingml.chart+xml"/>
  <Override PartName="/ppt/charts/style18.xml" ContentType="application/vnd.ms-office.chartstyle+xml"/>
  <Override PartName="/ppt/charts/colors18.xml" ContentType="application/vnd.ms-office.chartcolorstyle+xml"/>
  <Override PartName="/ppt/tags/tag109.xml" ContentType="application/vnd.openxmlformats-officedocument.presentationml.tags+xml"/>
  <Override PartName="/ppt/notesSlides/notesSlide31.xml" ContentType="application/vnd.openxmlformats-officedocument.presentationml.notesSlide+xml"/>
  <Override PartName="/ppt/charts/chart82.xml" ContentType="application/vnd.openxmlformats-officedocument.drawingml.chart+xml"/>
  <Override PartName="/ppt/charts/style19.xml" ContentType="application/vnd.ms-office.chartstyle+xml"/>
  <Override PartName="/ppt/charts/colors19.xml" ContentType="application/vnd.ms-office.chartcolorstyle+xml"/>
  <Override PartName="/ppt/tags/tag110.xml" ContentType="application/vnd.openxmlformats-officedocument.presentationml.tags+xml"/>
  <Override PartName="/ppt/notesSlides/notesSlide32.xml" ContentType="application/vnd.openxmlformats-officedocument.presentationml.notesSlide+xml"/>
  <Override PartName="/ppt/charts/chart83.xml" ContentType="application/vnd.openxmlformats-officedocument.drawingml.chart+xml"/>
  <Override PartName="/ppt/charts/style20.xml" ContentType="application/vnd.ms-office.chartstyle+xml"/>
  <Override PartName="/ppt/charts/colors20.xml" ContentType="application/vnd.ms-office.chartcolorstyle+xml"/>
  <Override PartName="/ppt/tags/tag111.xml" ContentType="application/vnd.openxmlformats-officedocument.presentationml.tags+xml"/>
  <Override PartName="/ppt/notesSlides/notesSlide33.xml" ContentType="application/vnd.openxmlformats-officedocument.presentationml.notesSlide+xml"/>
  <Override PartName="/ppt/charts/chart84.xml" ContentType="application/vnd.openxmlformats-officedocument.drawingml.chart+xml"/>
  <Override PartName="/ppt/charts/style21.xml" ContentType="application/vnd.ms-office.chartstyle+xml"/>
  <Override PartName="/ppt/charts/colors21.xml" ContentType="application/vnd.ms-office.chartcolorstyle+xml"/>
  <Override PartName="/ppt/tags/tag112.xml" ContentType="application/vnd.openxmlformats-officedocument.presentationml.tags+xml"/>
  <Override PartName="/ppt/notesSlides/notesSlide34.xml" ContentType="application/vnd.openxmlformats-officedocument.presentationml.notesSlide+xml"/>
  <Override PartName="/ppt/charts/chart85.xml" ContentType="application/vnd.openxmlformats-officedocument.drawingml.chart+xml"/>
  <Override PartName="/ppt/charts/style22.xml" ContentType="application/vnd.ms-office.chartstyle+xml"/>
  <Override PartName="/ppt/charts/colors22.xml" ContentType="application/vnd.ms-office.chartcolorstyle+xml"/>
  <Override PartName="/ppt/tags/tag113.xml" ContentType="application/vnd.openxmlformats-officedocument.presentationml.tags+xml"/>
  <Override PartName="/ppt/notesSlides/notesSlide35.xml" ContentType="application/vnd.openxmlformats-officedocument.presentationml.notesSlide+xml"/>
  <Override PartName="/ppt/charts/chart86.xml" ContentType="application/vnd.openxmlformats-officedocument.drawingml.chart+xml"/>
  <Override PartName="/ppt/charts/style23.xml" ContentType="application/vnd.ms-office.chartstyle+xml"/>
  <Override PartName="/ppt/charts/colors23.xml" ContentType="application/vnd.ms-office.chartcolorstyle+xml"/>
  <Override PartName="/ppt/tags/tag114.xml" ContentType="application/vnd.openxmlformats-officedocument.presentationml.tags+xml"/>
  <Override PartName="/ppt/notesSlides/notesSlide36.xml" ContentType="application/vnd.openxmlformats-officedocument.presentationml.notesSlide+xml"/>
  <Override PartName="/ppt/charts/chart87.xml" ContentType="application/vnd.openxmlformats-officedocument.drawingml.chart+xml"/>
  <Override PartName="/ppt/charts/style24.xml" ContentType="application/vnd.ms-office.chartstyle+xml"/>
  <Override PartName="/ppt/charts/colors24.xml" ContentType="application/vnd.ms-office.chartcolorstyle+xml"/>
  <Override PartName="/ppt/tags/tag115.xml" ContentType="application/vnd.openxmlformats-officedocument.presentationml.tags+xml"/>
  <Override PartName="/ppt/notesSlides/notesSlide37.xml" ContentType="application/vnd.openxmlformats-officedocument.presentationml.notesSlide+xml"/>
  <Override PartName="/ppt/charts/chart88.xml" ContentType="application/vnd.openxmlformats-officedocument.drawingml.chart+xml"/>
  <Override PartName="/ppt/charts/style25.xml" ContentType="application/vnd.ms-office.chartstyle+xml"/>
  <Override PartName="/ppt/charts/colors25.xml" ContentType="application/vnd.ms-office.chartcolorstyle+xml"/>
  <Override PartName="/ppt/tags/tag116.xml" ContentType="application/vnd.openxmlformats-officedocument.presentationml.tags+xml"/>
  <Override PartName="/ppt/notesSlides/notesSlide38.xml" ContentType="application/vnd.openxmlformats-officedocument.presentationml.notesSlide+xml"/>
  <Override PartName="/ppt/charts/chart89.xml" ContentType="application/vnd.openxmlformats-officedocument.drawingml.chart+xml"/>
  <Override PartName="/ppt/charts/style26.xml" ContentType="application/vnd.ms-office.chartstyle+xml"/>
  <Override PartName="/ppt/charts/colors26.xml" ContentType="application/vnd.ms-office.chartcolorstyle+xml"/>
  <Override PartName="/ppt/tags/tag117.xml" ContentType="application/vnd.openxmlformats-officedocument.presentationml.tags+xml"/>
  <Override PartName="/ppt/notesSlides/notesSlide39.xml" ContentType="application/vnd.openxmlformats-officedocument.presentationml.notesSlide+xml"/>
  <Override PartName="/ppt/charts/chart90.xml" ContentType="application/vnd.openxmlformats-officedocument.drawingml.chart+xml"/>
  <Override PartName="/ppt/charts/style27.xml" ContentType="application/vnd.ms-office.chartstyle+xml"/>
  <Override PartName="/ppt/charts/colors27.xml" ContentType="application/vnd.ms-office.chartcolorstyle+xml"/>
  <Override PartName="/ppt/tags/tag118.xml" ContentType="application/vnd.openxmlformats-officedocument.presentationml.tags+xml"/>
  <Override PartName="/ppt/notesSlides/notesSlide40.xml" ContentType="application/vnd.openxmlformats-officedocument.presentationml.notesSlide+xml"/>
  <Override PartName="/ppt/charts/chart91.xml" ContentType="application/vnd.openxmlformats-officedocument.drawingml.chart+xml"/>
  <Override PartName="/ppt/charts/style28.xml" ContentType="application/vnd.ms-office.chartstyle+xml"/>
  <Override PartName="/ppt/charts/colors28.xml" ContentType="application/vnd.ms-office.chartcolorstyle+xml"/>
  <Override PartName="/ppt/tags/tag119.xml" ContentType="application/vnd.openxmlformats-officedocument.presentationml.tags+xml"/>
  <Override PartName="/ppt/notesSlides/notesSlide41.xml" ContentType="application/vnd.openxmlformats-officedocument.presentationml.notesSlide+xml"/>
  <Override PartName="/ppt/charts/chart92.xml" ContentType="application/vnd.openxmlformats-officedocument.drawingml.chart+xml"/>
  <Override PartName="/ppt/charts/style29.xml" ContentType="application/vnd.ms-office.chartstyle+xml"/>
  <Override PartName="/ppt/charts/colors29.xml" ContentType="application/vnd.ms-office.chartcolorstyle+xml"/>
  <Override PartName="/ppt/tags/tag120.xml" ContentType="application/vnd.openxmlformats-officedocument.presentationml.tags+xml"/>
  <Override PartName="/ppt/notesSlides/notesSlide42.xml" ContentType="application/vnd.openxmlformats-officedocument.presentationml.notesSlide+xml"/>
  <Override PartName="/ppt/charts/chart93.xml" ContentType="application/vnd.openxmlformats-officedocument.drawingml.chart+xml"/>
  <Override PartName="/ppt/charts/style30.xml" ContentType="application/vnd.ms-office.chartstyle+xml"/>
  <Override PartName="/ppt/charts/colors30.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98"/>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Summary Category" id="{53C219A6-6359-46D7-96A0-A2BCFE636DF6}">
          <p14:sldIdLst>
            <p14:sldId id="2147477365"/>
            <p14:sldId id="2147477366"/>
            <p14:sldId id="2147477367"/>
          </p14:sldIdLst>
        </p14:section>
        <p14:section name="Price Positioning Summary Sector" id="{632292CC-F3F0-4680-B2BF-9EA24B23A69F}">
          <p14:sldIdLst>
            <p14:sldId id="2147477368"/>
            <p14:sldId id="2147477369"/>
            <p14:sldId id="2147477370"/>
          </p14:sldIdLst>
        </p14:section>
        <p14:section name="Price Positioning Summary Segment" id="{217F8DFD-C69B-4D93-BC6F-8ECCE567273C}">
          <p14:sldIdLst>
            <p14:sldId id="2147477371"/>
            <p14:sldId id="2147477372"/>
            <p14:sldId id="2147477373"/>
          </p14:sldIdLst>
        </p14:section>
        <p14:section name="Price Positioning Analysis By Brands" id="{591E5860-34D4-457E-83F3-CE7EB3B5EC52}">
          <p14:sldIdLst>
            <p14:sldId id="2147477374"/>
            <p14:sldId id="2147477375"/>
            <p14:sldId id="2147477376"/>
            <p14:sldId id="2147477377"/>
            <p14:sldId id="2147477378"/>
            <p14:sldId id="2147477379"/>
            <p14:sldId id="2147477380"/>
            <p14:sldId id="2147477381"/>
            <p14:sldId id="2147477382"/>
            <p14:sldId id="2147477383"/>
            <p14:sldId id="2147477384"/>
            <p14:sldId id="2147477385"/>
            <p14:sldId id="2147477386"/>
            <p14:sldId id="2147477387"/>
            <p14:sldId id="2147477388"/>
            <p14:sldId id="2147477389"/>
            <p14:sldId id="2147477390"/>
            <p14:sldId id="2147477391"/>
            <p14:sldId id="2147477392"/>
            <p14:sldId id="2147477393"/>
            <p14:sldId id="2147477394"/>
          </p14:sldIdLst>
        </p14:section>
        <p14:section name="Price Positioning Analysis By Manufacturer" id="{8CEAC1FD-B628-406D-80E6-040138C14CF9}">
          <p14:sldIdLst>
            <p14:sldId id="2147477395"/>
            <p14:sldId id="2147477396"/>
            <p14:sldId id="2147477397"/>
            <p14:sldId id="2147477398"/>
            <p14:sldId id="2147477399"/>
            <p14:sldId id="2147477400"/>
            <p14:sldId id="2147477401"/>
            <p14:sldId id="2147477402"/>
            <p14:sldId id="2147477403"/>
            <p14:sldId id="2147477404"/>
            <p14:sldId id="2147477405"/>
            <p14:sldId id="2147477406"/>
            <p14:sldId id="2147477407"/>
            <p14:sldId id="2147477408"/>
            <p14:sldId id="2147477409"/>
            <p14:sldId id="2147477410"/>
            <p14:sldId id="2147477411"/>
            <p14:sldId id="2147477412"/>
            <p14:sldId id="2147477413"/>
            <p14:sldId id="2147477414"/>
            <p14:sldId id="2147477415"/>
          </p14:sldIdLst>
        </p14:section>
        <p14:section name="Sectors Share and Growth By Brands" id="{2AE56684-8421-4134-B956-F3A4E46BA4B9}">
          <p14:sldIdLst>
            <p14:sldId id="2147477416"/>
            <p14:sldId id="2147477417"/>
            <p14:sldId id="2147477418"/>
          </p14:sldIdLst>
        </p14:section>
        <p14:section name="Segments Share and Growth By Brands" id="{3CFC3D76-6D3C-45B9-AAF2-C389BEDFD85D}">
          <p14:sldIdLst>
            <p14:sldId id="2147477419"/>
            <p14:sldId id="2147477420"/>
            <p14:sldId id="2147477421"/>
          </p14:sldIdLst>
        </p14:section>
        <p14:section name="Sectors Share and Growth By Manufacturer" id="{4EEE6251-7749-438B-A8D0-6F68A1818C2C}">
          <p14:sldIdLst>
            <p14:sldId id="2147477422"/>
            <p14:sldId id="2147477423"/>
            <p14:sldId id="2147477424"/>
          </p14:sldIdLst>
        </p14:section>
        <p14:section name="Segments Share and Growth By Manufacturer" id="{69C787D0-0A5A-4C7A-80AA-F94963F9F624}">
          <p14:sldIdLst>
            <p14:sldId id="2147477425"/>
            <p14:sldId id="2147477426"/>
            <p14:sldId id="2147477427"/>
          </p14:sldIdLst>
        </p14:section>
        <p14:section name="Sec/Seg Value Sales Vs Avg Price By Manufacturer" id="{7C0C7736-24B3-415E-946E-4AD65683984F}">
          <p14:sldIdLst>
            <p14:sldId id="2147477428"/>
            <p14:sldId id="2147477429"/>
            <p14:sldId id="2147477430"/>
          </p14:sldIdLst>
        </p14:section>
        <p14:section name="Sec/Seg Value Sales Vs Avg Price" id="{9B297208-EF69-4188-9EB1-51D491530E2B}">
          <p14:sldIdLst>
            <p14:sldId id="2147477431"/>
            <p14:sldId id="2147477432"/>
            <p14:sldId id="2147477433"/>
            <p14:sldId id="2147477434"/>
            <p14:sldId id="2147477435"/>
            <p14:sldId id="2147477436"/>
            <p14:sldId id="2147477437"/>
            <p14:sldId id="2147477438"/>
            <p14:sldId id="2147477439"/>
          </p14:sldIdLst>
        </p14:section>
        <p14:section name="Sectors Value Sales Vs Avg Price" id="{FB13EDD2-2F8C-4E3E-8F4A-BDA061DCF461}">
          <p14:sldIdLst>
            <p14:sldId id="2147477440"/>
            <p14:sldId id="2147477441"/>
            <p14:sldId id="2147477442"/>
            <p14:sldId id="2147477443"/>
            <p14:sldId id="2147477444"/>
            <p14:sldId id="2147477445"/>
            <p14:sldId id="2147477446"/>
            <p14:sldId id="2147477447"/>
            <p14:sldId id="2147477448"/>
          </p14:sldIdLst>
        </p14:section>
        <p14:section name="Segment Value Sales Vs Avg Price" id="{42A1F34C-D6BD-4532-82A7-62294BDDEC20}">
          <p14:sldIdLst>
            <p14:sldId id="2147477449"/>
            <p14:sldId id="2147477450"/>
            <p14:sldId id="2147477451"/>
            <p14:sldId id="2147477452"/>
            <p14:sldId id="2147477453"/>
            <p14:sldId id="2147477454"/>
            <p14:sldId id="2147477455"/>
            <p14:sldId id="2147477456"/>
            <p14:sldId id="2147477457"/>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5" d="100"/>
          <a:sy n="55" d="100"/>
        </p:scale>
        <p:origin x="96" y="450"/>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tableStyles" Target="tableStyles.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presProps" Target="presProps.xml"/><Relationship Id="rId10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notesMaster" Target="notesMasters/notesMaster1.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1.xml"/><Relationship Id="rId1" Type="http://schemas.microsoft.com/office/2011/relationships/chartStyle" Target="style1.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2.xml"/><Relationship Id="rId1" Type="http://schemas.microsoft.com/office/2011/relationships/chartStyle" Target="style2.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3.xml"/><Relationship Id="rId1" Type="http://schemas.microsoft.com/office/2011/relationships/chartStyle" Target="style3.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4.xml"/><Relationship Id="rId1" Type="http://schemas.microsoft.com/office/2011/relationships/chartStyle" Target="style4.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5.xml"/><Relationship Id="rId1" Type="http://schemas.microsoft.com/office/2011/relationships/chartStyle" Target="style5.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7.xml"/><Relationship Id="rId1" Type="http://schemas.microsoft.com/office/2011/relationships/chartStyle" Target="style7.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8.xml"/><Relationship Id="rId1" Type="http://schemas.microsoft.com/office/2011/relationships/chartStyle" Target="style8.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9.xml"/><Relationship Id="rId1" Type="http://schemas.microsoft.com/office/2011/relationships/chartStyle" Target="style9.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10.xml"/><Relationship Id="rId1" Type="http://schemas.microsoft.com/office/2011/relationships/chartStyle" Target="style10.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11.xml"/><Relationship Id="rId1" Type="http://schemas.microsoft.com/office/2011/relationships/chartStyle" Target="style11.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12.xml"/><Relationship Id="rId1" Type="http://schemas.microsoft.com/office/2011/relationships/chartStyle" Target="style12.xml"/></Relationships>
</file>

<file path=ppt/charts/_rels/chart76.xml.rels><?xml version="1.0" encoding="UTF-8" standalone="yes"?>
<Relationships xmlns="http://schemas.openxmlformats.org/package/2006/relationships"><Relationship Id="rId3" Type="http://schemas.openxmlformats.org/officeDocument/2006/relationships/package" Target="../embeddings/Microsoft_Excel_Worksheet75.xlsx"/><Relationship Id="rId2" Type="http://schemas.microsoft.com/office/2011/relationships/chartColorStyle" Target="colors13.xml"/><Relationship Id="rId1" Type="http://schemas.microsoft.com/office/2011/relationships/chartStyle" Target="style13.xml"/></Relationships>
</file>

<file path=ppt/charts/_rels/chart77.xml.rels><?xml version="1.0" encoding="UTF-8" standalone="yes"?>
<Relationships xmlns="http://schemas.openxmlformats.org/package/2006/relationships"><Relationship Id="rId3" Type="http://schemas.openxmlformats.org/officeDocument/2006/relationships/package" Target="../embeddings/Microsoft_Excel_Worksheet76.xlsx"/><Relationship Id="rId2" Type="http://schemas.microsoft.com/office/2011/relationships/chartColorStyle" Target="colors14.xml"/><Relationship Id="rId1" Type="http://schemas.microsoft.com/office/2011/relationships/chartStyle" Target="style14.xml"/></Relationships>
</file>

<file path=ppt/charts/_rels/chart78.xml.rels><?xml version="1.0" encoding="UTF-8" standalone="yes"?>
<Relationships xmlns="http://schemas.openxmlformats.org/package/2006/relationships"><Relationship Id="rId3" Type="http://schemas.openxmlformats.org/officeDocument/2006/relationships/package" Target="../embeddings/Microsoft_Excel_Worksheet77.xlsx"/><Relationship Id="rId2" Type="http://schemas.microsoft.com/office/2011/relationships/chartColorStyle" Target="colors15.xml"/><Relationship Id="rId1" Type="http://schemas.microsoft.com/office/2011/relationships/chartStyle" Target="style15.xml"/></Relationships>
</file>

<file path=ppt/charts/_rels/chart79.xml.rels><?xml version="1.0" encoding="UTF-8" standalone="yes"?>
<Relationships xmlns="http://schemas.openxmlformats.org/package/2006/relationships"><Relationship Id="rId3" Type="http://schemas.openxmlformats.org/officeDocument/2006/relationships/package" Target="../embeddings/Microsoft_Excel_Worksheet78.xlsx"/><Relationship Id="rId2" Type="http://schemas.microsoft.com/office/2011/relationships/chartColorStyle" Target="colors16.xml"/><Relationship Id="rId1" Type="http://schemas.microsoft.com/office/2011/relationships/chartStyle" Target="style16.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3" Type="http://schemas.openxmlformats.org/officeDocument/2006/relationships/package" Target="../embeddings/Microsoft_Excel_Worksheet79.xlsx"/><Relationship Id="rId2" Type="http://schemas.microsoft.com/office/2011/relationships/chartColorStyle" Target="colors17.xml"/><Relationship Id="rId1" Type="http://schemas.microsoft.com/office/2011/relationships/chartStyle" Target="style17.xml"/></Relationships>
</file>

<file path=ppt/charts/_rels/chart81.xml.rels><?xml version="1.0" encoding="UTF-8" standalone="yes"?>
<Relationships xmlns="http://schemas.openxmlformats.org/package/2006/relationships"><Relationship Id="rId3" Type="http://schemas.openxmlformats.org/officeDocument/2006/relationships/package" Target="../embeddings/Microsoft_Excel_Worksheet80.xlsx"/><Relationship Id="rId2" Type="http://schemas.microsoft.com/office/2011/relationships/chartColorStyle" Target="colors18.xml"/><Relationship Id="rId1" Type="http://schemas.microsoft.com/office/2011/relationships/chartStyle" Target="style18.xml"/></Relationships>
</file>

<file path=ppt/charts/_rels/chart82.xml.rels><?xml version="1.0" encoding="UTF-8" standalone="yes"?>
<Relationships xmlns="http://schemas.openxmlformats.org/package/2006/relationships"><Relationship Id="rId3" Type="http://schemas.openxmlformats.org/officeDocument/2006/relationships/package" Target="../embeddings/Microsoft_Excel_Worksheet81.xlsx"/><Relationship Id="rId2" Type="http://schemas.microsoft.com/office/2011/relationships/chartColorStyle" Target="colors19.xml"/><Relationship Id="rId1" Type="http://schemas.microsoft.com/office/2011/relationships/chartStyle" Target="style19.xml"/></Relationships>
</file>

<file path=ppt/charts/_rels/chart83.xml.rels><?xml version="1.0" encoding="UTF-8" standalone="yes"?>
<Relationships xmlns="http://schemas.openxmlformats.org/package/2006/relationships"><Relationship Id="rId3" Type="http://schemas.openxmlformats.org/officeDocument/2006/relationships/package" Target="../embeddings/Microsoft_Excel_Worksheet82.xlsx"/><Relationship Id="rId2" Type="http://schemas.microsoft.com/office/2011/relationships/chartColorStyle" Target="colors20.xml"/><Relationship Id="rId1" Type="http://schemas.microsoft.com/office/2011/relationships/chartStyle" Target="style20.xml"/></Relationships>
</file>

<file path=ppt/charts/_rels/chart84.xml.rels><?xml version="1.0" encoding="UTF-8" standalone="yes"?>
<Relationships xmlns="http://schemas.openxmlformats.org/package/2006/relationships"><Relationship Id="rId3" Type="http://schemas.openxmlformats.org/officeDocument/2006/relationships/package" Target="../embeddings/Microsoft_Excel_Worksheet83.xlsx"/><Relationship Id="rId2" Type="http://schemas.microsoft.com/office/2011/relationships/chartColorStyle" Target="colors21.xml"/><Relationship Id="rId1" Type="http://schemas.microsoft.com/office/2011/relationships/chartStyle" Target="style21.xml"/></Relationships>
</file>

<file path=ppt/charts/_rels/chart85.xml.rels><?xml version="1.0" encoding="UTF-8" standalone="yes"?>
<Relationships xmlns="http://schemas.openxmlformats.org/package/2006/relationships"><Relationship Id="rId3" Type="http://schemas.openxmlformats.org/officeDocument/2006/relationships/package" Target="../embeddings/Microsoft_Excel_Worksheet84.xlsx"/><Relationship Id="rId2" Type="http://schemas.microsoft.com/office/2011/relationships/chartColorStyle" Target="colors22.xml"/><Relationship Id="rId1" Type="http://schemas.microsoft.com/office/2011/relationships/chartStyle" Target="style22.xml"/></Relationships>
</file>

<file path=ppt/charts/_rels/chart86.xml.rels><?xml version="1.0" encoding="UTF-8" standalone="yes"?>
<Relationships xmlns="http://schemas.openxmlformats.org/package/2006/relationships"><Relationship Id="rId3" Type="http://schemas.openxmlformats.org/officeDocument/2006/relationships/package" Target="../embeddings/Microsoft_Excel_Worksheet85.xlsx"/><Relationship Id="rId2" Type="http://schemas.microsoft.com/office/2011/relationships/chartColorStyle" Target="colors23.xml"/><Relationship Id="rId1" Type="http://schemas.microsoft.com/office/2011/relationships/chartStyle" Target="style23.xml"/></Relationships>
</file>

<file path=ppt/charts/_rels/chart87.xml.rels><?xml version="1.0" encoding="UTF-8" standalone="yes"?>
<Relationships xmlns="http://schemas.openxmlformats.org/package/2006/relationships"><Relationship Id="rId3" Type="http://schemas.openxmlformats.org/officeDocument/2006/relationships/package" Target="../embeddings/Microsoft_Excel_Worksheet86.xlsx"/><Relationship Id="rId2" Type="http://schemas.microsoft.com/office/2011/relationships/chartColorStyle" Target="colors24.xml"/><Relationship Id="rId1" Type="http://schemas.microsoft.com/office/2011/relationships/chartStyle" Target="style24.xml"/></Relationships>
</file>

<file path=ppt/charts/_rels/chart88.xml.rels><?xml version="1.0" encoding="UTF-8" standalone="yes"?>
<Relationships xmlns="http://schemas.openxmlformats.org/package/2006/relationships"><Relationship Id="rId3" Type="http://schemas.openxmlformats.org/officeDocument/2006/relationships/package" Target="../embeddings/Microsoft_Excel_Worksheet87.xlsx"/><Relationship Id="rId2" Type="http://schemas.microsoft.com/office/2011/relationships/chartColorStyle" Target="colors25.xml"/><Relationship Id="rId1" Type="http://schemas.microsoft.com/office/2011/relationships/chartStyle" Target="style25.xml"/></Relationships>
</file>

<file path=ppt/charts/_rels/chart89.xml.rels><?xml version="1.0" encoding="UTF-8" standalone="yes"?>
<Relationships xmlns="http://schemas.openxmlformats.org/package/2006/relationships"><Relationship Id="rId3" Type="http://schemas.openxmlformats.org/officeDocument/2006/relationships/package" Target="../embeddings/Microsoft_Excel_Worksheet88.xlsx"/><Relationship Id="rId2" Type="http://schemas.microsoft.com/office/2011/relationships/chartColorStyle" Target="colors26.xml"/><Relationship Id="rId1" Type="http://schemas.microsoft.com/office/2011/relationships/chartStyle" Target="style26.xml"/></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3" Type="http://schemas.openxmlformats.org/officeDocument/2006/relationships/package" Target="../embeddings/Microsoft_Excel_Worksheet89.xlsx"/><Relationship Id="rId2" Type="http://schemas.microsoft.com/office/2011/relationships/chartColorStyle" Target="colors27.xml"/><Relationship Id="rId1" Type="http://schemas.microsoft.com/office/2011/relationships/chartStyle" Target="style27.xml"/></Relationships>
</file>

<file path=ppt/charts/_rels/chart91.xml.rels><?xml version="1.0" encoding="UTF-8" standalone="yes"?>
<Relationships xmlns="http://schemas.openxmlformats.org/package/2006/relationships"><Relationship Id="rId3" Type="http://schemas.openxmlformats.org/officeDocument/2006/relationships/package" Target="../embeddings/Microsoft_Excel_Worksheet90.xlsx"/><Relationship Id="rId2" Type="http://schemas.microsoft.com/office/2011/relationships/chartColorStyle" Target="colors28.xml"/><Relationship Id="rId1" Type="http://schemas.microsoft.com/office/2011/relationships/chartStyle" Target="style28.xml"/></Relationships>
</file>

<file path=ppt/charts/_rels/chart92.xml.rels><?xml version="1.0" encoding="UTF-8" standalone="yes"?>
<Relationships xmlns="http://schemas.openxmlformats.org/package/2006/relationships"><Relationship Id="rId3" Type="http://schemas.openxmlformats.org/officeDocument/2006/relationships/package" Target="../embeddings/Microsoft_Excel_Worksheet91.xlsx"/><Relationship Id="rId2" Type="http://schemas.microsoft.com/office/2011/relationships/chartColorStyle" Target="colors29.xml"/><Relationship Id="rId1" Type="http://schemas.microsoft.com/office/2011/relationships/chartStyle" Target="style29.xml"/></Relationships>
</file>

<file path=ppt/charts/_rels/chart93.xml.rels><?xml version="1.0" encoding="UTF-8" standalone="yes"?>
<Relationships xmlns="http://schemas.openxmlformats.org/package/2006/relationships"><Relationship Id="rId3" Type="http://schemas.openxmlformats.org/officeDocument/2006/relationships/package" Target="../embeddings/Microsoft_Excel_Worksheet92.xlsx"/><Relationship Id="rId2" Type="http://schemas.microsoft.com/office/2011/relationships/chartColorStyle" Target="colors30.xml"/><Relationship Id="rId1" Type="http://schemas.microsoft.com/office/2011/relationships/chartStyle" Target="style30.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2A8E2DD-5BDD-4B5C-A6F0-0B1106F004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82B03ED-CD62-4A3A-9CE1-9368DE4D36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29649E8-4D53-4821-B360-425F8EE043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90EED9A-2587-452F-B089-A8476A4C02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991A565-2CEE-4E33-92D9-50F823C4B5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2D53DB6-5092-49A3-AB22-9C27E3DC62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B131901-C845-42B8-B987-A686446899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86513A2-C2C9-4040-9E22-71CE584F1E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0C54ED1-B8FC-440B-8809-E52E7E8A61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E6F2FB8-7D7E-4079-9EDF-B7AA12815D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7E629C3-4C4A-4D90-B946-3AD3DCC4D3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7A06B90-19C3-4A12-BD92-F3CDBA82D4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B799748-B7AC-40B4-A2E4-809C52188D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E40CC2B-3301-4EAA-B6AB-205E992854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15DD965-5190-4E7E-A4A7-8E4FA2DCCA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D15D3A1-97AF-4F1E-871C-41C7A64C20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162973C6-301D-4562-903D-AD1240BAF5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2B938DCE-03FD-487C-BDCB-BCD6EF9DC3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E96B13EC-8E16-43B4-B79A-B60A014BB4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9959E51F-38A0-4922-BACC-524DC89334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274B4CDF-73E4-47F1-BE02-D46F22CA4A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15DD90DB-7C16-45E3-8A8A-4AD00AD45F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057AAFAF-3597-4874-9BCC-F666BEC93D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883ED720-03F4-449F-9B90-FAE9FD070C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DC447BD2-04FA-4796-BA6F-FB19532C06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85AB9C7A-C0F3-4B43-9E01-7802CC2ADC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A30BF9FA-4B38-4729-890A-20DE9AE38C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8AEDB1F8-AF19-4853-8F74-D51A3E2FE6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766A49BE-07C5-4F2B-92CF-969AA8B190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6EB21CE7-64B7-4E6B-BBD5-4501051C88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01DD1C87-2F48-4CC6-BE4A-40BDCECF92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058ECA7F-F56C-4807-97FA-F148B69F50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B66541B-9938-4500-B2E0-9B6CE739F4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E524DF4-0C37-4526-B828-8D4C859922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C35F413-5E99-4679-B04A-08AE0F16B4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9CCD35C-FF00-445D-9470-AD57C37EEE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AFC931B-81C9-415B-81AA-3FB5E9142E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FF1A475-DF0A-478C-9872-BEC82493FA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DF6D6DD-2937-4CF0-8989-DC6EEBC66C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E9F0789-A814-4C05-9C01-E194370F4D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40E5E758-2989-43CE-95E0-04F07A82C2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AFA7114D-8E5A-4C14-860A-BCC6D8096A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FBC52BA7-4793-4EB7-9DC7-4093D7F6B8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1068978C-170C-48FA-BD18-B02652C61C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64D99DBF-C169-4E7F-A724-667BA16E4D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CD0715F7-5578-43F7-9DDC-9A8CB98F5D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3BCF7A72-6037-4B09-A82C-C92B83112C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39F23BF1-3AC6-486B-B106-837ED882BD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D437C52C-A546-4CC8-AFE6-75AE7DFF67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AFAB4E02-552B-4DDD-B33D-18A0886860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C434B565-6EA1-48B2-81DD-6D3D9A5BCF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170BEA34-DDAE-474D-B7A1-D3C42329C0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21C3DBD0-BD2A-4FDF-80C6-8133A9E09B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9DF93770-F754-4FD2-822B-422182775C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C0C52F13-2301-42A0-97DA-B41D5FC7E6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A8CA02E6-73B8-4D52-8EA4-BED9DF99BB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C00FC3A-8142-4D0A-8527-DF8362ECE1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1807E3D-496B-4A4C-AD9C-120998E6DF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C0D53CE-6A0F-46D7-81BC-9F2608469A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0D6E57E-29D3-432A-890D-FB731EAD73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ECD71A4-BB75-4ED7-9E65-90EE69BFCA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E56059A-2DBE-4876-A085-69532DDEC6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93B31FC-967D-44C9-B1E7-EB3504FF42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BA9EE3F-B839-4EFA-B709-2AF604BF45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031D591C-4F99-4544-A161-B4432579D7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17543E8A-E962-41A3-848E-18BF784019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9BCF0BB9-88C0-46CC-B9F7-3B0C9BAFD1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A11C3DE7-F40A-42E2-8E73-A70A10A2CF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140A59D7-E1F3-41D8-A031-36A7A95490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133DD911-EC09-4952-AEFC-A4499A23D8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F0A34B32-B579-47A2-A812-C3848DEED9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A520F203-54E6-4FC7-BF62-A7876F3677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A01CDF83-2768-4C0F-AF67-A8660381DB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418D418A-C847-4D19-8BCC-430F1CDB00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669A69A7-3E82-476C-B291-E7443028CB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AAA0A3CF-FDFF-450C-8D8F-5BC62D6925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F1BA3508-7760-42DC-BA92-0FA0188A5C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A2E3F1BB-0E17-4EB1-BC4A-039820B6A4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D015DEDF-D9C9-4EEF-9AEC-BA39293F4B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F96B1E9C-8E1E-4A05-83C6-55B7E2115F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D599B49-0A69-4B8F-A819-61D8D8ACB8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5806FAF-976C-4402-9EAF-9D0202EEDA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CD9BAEB-3664-440A-AFA4-ED0F4BC026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F5905B1-D8AA-46DA-BC0F-5DD93D37CA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26883DF-8649-4DF2-9943-0545AA0FF4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F593D54-86C9-46AF-A1D8-1DFFDB4706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C4B72BD-E8C7-4153-9D46-191D20A691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8C6B37E-BF5D-40DF-AB84-3F8AB9E511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D5DDA2E-C58A-4A26-B48B-63C85EABFC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2D17395-1856-4A60-AFB6-EED6F4B470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B5233F9-8F99-41E3-BBBE-D3C09876AB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E3E9596-DE1F-4BFB-81C7-BAF5939CEB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3FC772D-4F5A-4D44-98AA-B025EC6838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B216C31-E8AC-491F-A6E4-AD288634D0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A399279-44F6-436B-87A0-ECF34C9D68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67870B3-A033-4985-99AF-9940586CFD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EBB8475E-01E2-4726-9F83-78A8EDE4FA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87963145-6DB2-4920-B553-4360DD1754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EE3D125B-A246-49B1-A6E5-085CDA0832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10B5E5E5-0F80-4379-B1A2-A3FB257F0F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47E81E2B-FD01-4019-8AC2-3B48E39C57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7592DE2C-1AB1-4AF2-AE60-60C86875B9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521C1B34-9375-4858-9405-EA25BC0E7C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4835A393-ED6F-4956-920C-574E9D5233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250E6A80-372E-49DF-AB4F-7F2E9DDD08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310445A2-FC28-4756-8965-18C30A6B18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60D05941-CE48-49B0-9A65-FEC79614C8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E40D8DBB-AC3A-433C-B23A-7B51CE0398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FD9E9462-4C9A-4F97-AAAC-C949472EA2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35239A81-849E-4BCB-A46C-1C8AFFE41B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7B13E54D-453D-4DA1-9D2F-2448ACEC20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96589E3B-8E78-455C-89B0-859522F26D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4FEBC2E-CCC1-4DE7-AB25-9CC92BC3A4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26CE61F-CBC1-4EEC-B321-BB8A74142F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FA3B31F-23A4-4CB8-9E58-8C1DBCB7EE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0ADAED0-3186-4CEE-8E1B-95A650498F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4E418F7-3756-4ED5-9583-0C1338E292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8CD6946-660A-4FDB-8053-4C2F3A1EA1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C0B1392-63C0-4D33-810C-84F97CA358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1792E11-CC9D-40F0-8C85-51A79940B3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9B43E3A-0516-40CA-9FF4-90E914AE0D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800A12A-BBDB-4637-A489-599180FBCC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FD7CAEB-6BF1-4CBF-8E2B-828F3FBC19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E814678-470C-4D42-8ACD-B15051ACB0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F56DDB5-DBCE-413B-883D-90665A3CC8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6D934C7-7004-4569-ABEB-E592E66C5C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DE012EB-A930-46F8-9BBE-6DD791C0DD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EEC1D32-1328-4DE5-9129-39DA61AEE2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AFA08F6-49A7-42F7-90AF-9287A8E6D0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2133E66-3D3E-4B00-B2CA-BC3B68B84C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6AD822A-ACA6-4F4A-B85B-1CD3E70488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6685D08-A17C-40E3-B0F2-B0DF3E4E25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0A6D63B-8CE6-4D5D-9D43-139F1AC7B1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59F8E04-3DA3-484A-983F-9536E29C39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7AF4557-6800-4079-8156-9B16EB356C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9D1C191-761E-4231-AF8C-278A550EC6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997A8CC-D610-4A1B-8935-F0D4C70B86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EAE6CD6-7590-43B5-9A0A-916D602536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0A5A732-7615-4BE6-9D81-8C7101A574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9850777-C6E6-4CD0-A7D3-1A136FF9BA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7061292-7508-4128-8468-74051E3778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B7389DB-E9E3-4D52-B729-3270E6E9AE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A2FA794-E85A-4606-8906-6C255F0940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AB179D5-5F2B-445B-B48F-F7B22F0E5B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76AFB3C-1F95-4136-82CA-C76D70D83F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76703B2-CB5C-499C-9CDB-15C1E52D08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6B0DBD2-4127-47F0-AEF0-7294681800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7836952-237A-4933-A81A-B0D451AA8A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BE3FF91-1B17-4D0C-8727-BDA0BEC06A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6497591-88EB-4DB3-8CD5-99C5D13F70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ED72280-A96F-46A7-AD37-2EF13E20A2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7927333-2B17-466F-86AD-0036A7F793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A5A2A07-A785-44BF-A233-0900FE2C85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093437D-8CE4-4DDA-9710-9EC9B50DEA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A0F76F4-7196-48C0-89A4-19B5E5B8CC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03BBDDD-6D8E-43C4-8EF8-2B53936AEC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4FB88C5-763A-4E06-9620-99679F8046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F22CED3-D86F-41F4-B3C0-152E9B787C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680305D-E1F4-4D55-BAAB-4199FCDEFC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AF98E59-B748-4AA9-AC9F-1DF268D03A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1E3E1CA-F44D-4ACF-B2D1-B63F26A908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3C02A83-E1DA-44D4-B17B-FAF2E583DA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F130CF8-1AC5-42EB-AAD3-5559959860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A6956FD-D985-47D4-ACF8-3296024325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8B2C8EB-4881-43EC-9F55-979ACED755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A97B7BB-9717-4DE4-A92D-3E0B70F663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31F5EC7-52C1-4B3A-834F-32394ABA86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26FC878-549F-49E9-A24C-91CD1415A8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1FA27DB-5D3F-48F1-84CA-3F64A44EAC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DB81383-F267-449B-95A9-0D11825A68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807DFE5-2FCD-4F42-9D85-184FFF3A1E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9E038BE-A60A-480A-9E97-56065F2653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9B040F2-08C7-47F9-BC31-AB7BA26469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EF0613A-BE5C-4279-A343-9AE23477C6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FADD579-B775-45C7-B173-023EF10236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A31FC35-12D1-4701-A48E-42B732DEE2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26B65B1-75FD-46B6-88D1-F839FCB4F3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A19F818-7B15-4927-B7C3-9F55654EBD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6B6523E-E9AD-423F-92F4-A1CC1FBAC0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3F20827-CD78-4228-9105-ABEA17CC59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7CADCC3-6369-4CC3-B114-7BECB36630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948ED25-12B2-4E8B-BEFA-9DFD05838F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E537D0B-C521-45C0-8A16-3B21D4E4A1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7575EC0-4618-4377-B660-0259965CB6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BEEBBCC-87AE-41B5-B1D3-60312CD0B9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455765F-7184-4D67-A6D9-750FDB2271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E7C8BD1-DEEA-4765-830E-3531B77E56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13C9469-89BC-43A1-B51F-F1AC05B1B5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48D5393-9BF6-499D-80B8-BE58DF7B42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59CA79F-DD40-4F27-BE97-5B29D024A3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BF3F8D0-87F7-49A1-8A29-F969EA681F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237EFE6-4CBA-4F89-B030-6CFBA7AE49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00C4A82-10E5-4616-8860-B8015FC6A9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6918B5D-15C6-4970-A8EF-9EAE52FD8A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95CAF73-8CEE-4D4B-953A-0218776665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51C44B9-7CFD-4180-B016-6C1CF89802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222BC7C-3DBF-448F-B713-9DD5B07680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3E22785-09F5-45E7-B2A1-BE204510AA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41E334F-F98C-42DE-97CA-AA2DE5DBCA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B9BF9F8-B517-4165-89FB-E24A634352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B3D5658-D139-4E13-8FD7-A76108A03A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FDBFF7E-AB2E-4693-92B7-61D010DBF4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0746E93-5519-41CB-A3A0-6C29A7542F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DAD6099-3737-4895-A07C-53F12C2771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F731D16-32C3-4F2A-A0CE-6BA84B8DF1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4BF6F2C-5F2B-4923-B966-E94B076B03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3E9F6AA-A4BF-48AF-8EF8-6EC06036C5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4520CDF-2997-43F0-B73C-AA0BCA99AC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7FCB7B2-3B40-4C90-8BC4-EBCE7CAC52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322F1CB-2FBE-4982-B113-AF9CD5E16B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214DD73-3BFA-4F89-B330-542773FBBF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13AAAD4-925F-4A95-AA2D-4BA942F031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DD54DEC-6F7D-49CD-ABE8-65CD2B7A36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4C934D1-DCF6-45DA-B89A-9359DAAC87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A3D7CD7-9FC8-49EE-A7B6-FC729013FC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464899B-5299-4668-BC4A-78DAF90ED0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4A08CA8-FAD9-4C51-8AB1-6253D86588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034448C-BA45-4F42-9669-45E6822BC1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C7A8928-27D4-42D8-9C4B-7F7CEC4B0E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FA9E64E-E02F-40C1-854D-59F89E8AC8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4643EC2-981F-4E52-B860-73477C196D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41ACE5D-E7CA-46EE-8C15-6CA3AD688D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B46D326-038E-4DB0-BE71-0C4547C053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630CB44-CE48-4FC2-900E-82F1ADA903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BF3203F-818D-4E48-80E5-1895F3B03D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21985EE-8A3A-4EC0-92EE-132E086B6F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7A36AAD-2877-414F-A042-01FA1A27C0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411CFB0-5997-436E-A1BE-CA22837B28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EA2672F-EC78-4C1A-958E-78BAE56653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D5595CF-E743-4ED3-BC47-71A900C275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9809350-D3E8-4ABC-8092-4564B888BB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78B7771-EB45-468C-8CED-133EFD5B9F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5DB8BB1-F309-48D0-BB45-4757C178B2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07D9693-6C64-492C-82E3-1B930DD852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0507BD7-F72E-48EF-A106-1EF0EEFFDF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96D8038-CC87-4D51-A579-FC278760D1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03997C7-B965-46C2-ABA6-B8E9D2D1FD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71941B4-E764-46AE-8157-A9E6F4652C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D7643C3-E2C4-4CC2-A3F2-9A16688B76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0D60FD3-5DBE-4F81-9955-68ECD6A3A7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AC089F9-1A8D-4D23-A69D-0AA0D1C8A9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626125D-E995-449E-A1D6-7FAC5D8591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AD46E2D-3476-439B-8984-8ADA066D60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622E47F-9CA1-486E-BF1E-4884AC6416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C798B7B-04E2-4562-B648-9C46BDAF15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77B65D6-CDB8-444A-8FAB-1E7BCBC012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92288E5-5159-43AC-B4FB-663DDD4374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984714D-CA89-4E95-B7E8-5DCA86946E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9AC12FC-A148-4619-9929-F80E74AC78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E6C5945-6BF9-42D2-8EAD-DAC6B9E8A4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CE97F87-CFAE-4D5F-B9EE-E47B7477F0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D2BA4FC-3955-4421-BE0A-19DAC13174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1227F53-387E-4280-9107-0ED7A07D66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8652EBC-9BCE-4532-A781-D9DE96EDA5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814FEF2-E6CE-4DE0-9AC3-ABE794D937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D6875B7-3F5D-4325-994A-DED89055E1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D34B679-D0F3-426C-A995-5EB7D344C5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1F5138E-EF77-41F3-977D-4BBD966E82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A6512D6-241A-4997-98AD-C4F5551F72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43C2B95-EBDC-4DE5-A046-0FE67FACA6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7F46B8C-6CA0-40AD-B65E-62C196EC20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CBF3A22-1C3C-49E4-B37D-F853961AE9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1265BB4-2560-40C2-897F-0DFC480212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E48DE94-0E05-4110-BCC0-8A0D2273F7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DC87CAB-FEED-44FF-8353-4E6C52686E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862B5A2-7FD2-41F7-9230-4E45B65BC3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BEECEF0-D426-4352-90B1-7F1BC0D6DF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4536D73-5DFE-4387-9B5A-2CDABFCEC7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F48A332-E0CE-4586-BF52-81BEA6593C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BFC9E7B-0F86-4831-938D-62CE223326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4F3A366-014E-4DE2-8D2E-EFB5C2038E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60D2347-2601-4B92-80DC-EB3BC513A6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7E6BF81-408D-4680-8216-9B4768696A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2C54AE7-0BD8-4EB8-9DF2-8984F45C4C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D595B46-80F2-4A9D-A652-D48FFAB6CD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A27CEDB-F0D8-402C-9CF3-BBC052B96C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6F17846-A4DA-45B9-BABB-128EC2BC2D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3B27F1C-B8EE-498D-A752-1CBC0EA4B3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F671DF9-1050-4449-B569-F8E3349501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5522C59-F287-4D7A-8123-5345EC0A2C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A41A955-4225-4491-BA75-8BDBA77A03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F4AF12F-4617-45E4-A268-D04FB83E6A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B8E2FE3-5E91-4431-94A5-918FD0DDEA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51DE1A1-FF0E-4862-B43B-707E2C498B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29F373E-AEE4-429A-8FCC-E5079D2B10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9500085-CDE3-4578-BCEA-DC63DEA37C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968B8C9-703A-4C1E-B2AB-19E10F385B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BCCB8F5-2C61-4504-B91A-8418FDD915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A9016A6-4503-4B34-BB31-26AC35A46C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1FAF778-9A16-4765-8AA3-9209BC0BE8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AA1BF18-E4EA-4E05-8805-501731EAF7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80F87D0-4D48-4EB6-AF49-1773E5ABBF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B6FB993-B550-4561-A9E1-235C20F881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C373D66-07AB-47AC-AC3B-A7F2164DCD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78F3680-E533-497C-865D-CFE39F7E46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4E5CAD0-3EF9-4D8D-BEFE-8DB9D224F8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AE85A74-4222-4012-AE7C-5470C9764D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F2CC5DD-F566-46E3-87E9-94ED8617AC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A61BA9B-33B8-4D5C-8377-07DC5D1BCF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128BFF0-409C-4988-9C38-81DB0D70B9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AB48F97-09D4-49CB-9F8E-B4B37B57AE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AECE851-6E0E-4357-9BAD-E4EB404824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D424CD7-4E30-43FF-AD88-3E94FC769C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810B47A-0B1C-4747-BBC4-4E31E2357D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4EA4B13-7C9A-4389-92BC-B3D4B2A136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56FE732-5052-4C01-B12D-4B8CD714FF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D961189-E5A2-492E-98C6-6F319A2BEC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43745ED-96DB-4FF0-863F-716304A509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76A922B-A2DF-421B-9029-2B4571D5DB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A95DAA0-B8BC-419E-B361-D0E0F28129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E289FB9-5C26-4912-B86B-ECAB258181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158DB19-7077-463F-97F1-06E07AF494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ADED1D2-EB7F-4035-A4B2-210593E7D5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CFDB132-E03B-4A37-A138-EBE574F1C5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9753CEA-CA52-48DC-AB1E-8DBCD97A74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ACDEBF5-6CD7-4AB3-92C3-DD1EB3E326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3117D41-A741-4E97-9F60-B3F74B1377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5E7656E-0953-4870-9E83-465D914792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082376F-4457-40B6-9C8D-3348C9CC3D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F9E5475-6F6E-47A5-9772-ECCF06327F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3B8C76F-FD20-4444-88BD-4CE91196A5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C6F8E7B-2E8A-45D0-812B-AB3E5BC20B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9C4BD2A-041F-4614-8F49-A7654FEF81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1C41695-72F8-476B-97A6-FF4B36C25E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6F71F38-D021-40CB-8550-0232AA5709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F4202BC-97EB-4295-845E-4B47474941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2AACC6F-74F1-47C7-9BC6-DF24548073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B0BF655-4A35-4FA5-94AF-8C6EEAA987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C83F15A-2382-4914-A153-32CBD2D077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716C55B-054B-445F-8E06-2E75855300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34D1481-6F7F-458E-8EF6-4D6F61C97D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1C8D5D5-5769-470F-B0D6-3D73CDDC88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F2998D3-1BF1-4C4E-8AEA-C3A1274127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AC16551-BE6C-456B-8554-93599C98F4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2D7348E-2442-4820-8A35-EF0CCC1EE4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D2AC028-C800-4C0E-8573-9A6F4F57C0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00EEDED-0119-4607-AF6D-ABA310398B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68F501B-503E-4FDB-9197-2D11FACD9A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5DA8C10-F8E6-4D5D-A356-9115F82AE2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E4B586E-AC3F-490F-A337-872AA7A8F8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06C21A0-95CF-4C10-AE39-7849E3644F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8BEE695-6460-4882-9DDC-7DB36DD3F2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EDB21FE-0720-44B0-9A17-D94A7DAC3D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51ACE91-1276-4D07-B2B9-12A9737B03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687D46C-F445-4E3D-AE10-0AB78998DF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A348AED-D3BC-4A13-91CF-F81A24D069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2390046-08D6-434C-8AE3-BDC116AEF2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D136E9B-60E7-49B0-BD69-E9C609F666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FD90BD4-9FB1-4F54-B476-2A88A92D71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B6C11CD-8485-4F66-8AA0-83BF196A3D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04275B2-BAD3-4EC6-8CC9-B551DA1FB5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B3D118D-BB9A-4A64-BA46-CCB785A39F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E44B0760-CC9E-4AB5-9598-8AB87EF632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4CE45738-1DEE-4B9D-BA73-EB56369B03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BC957573-F30B-40F2-8BF2-8AEF0BAB93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3DC2DDE8-40DF-4C1D-A25F-35703FF806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9EBD14C6-969F-409D-BCDA-7411BCA1CA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872AFB11-19F5-4C7A-A490-1F28BB984C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95F5C098-BD00-45D3-939A-10024DBD26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9A666ED0-B94A-460A-97B1-8451AFE9EE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F6C7FB2-D55C-4848-9C13-7051AAE99A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4AD0965-DD2B-45E3-8FDA-7BF1D64C07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07F3F37-1B19-45AC-AB1A-11616512DA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0037FE9-4362-4739-A27B-ACAF38A011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4F17B03-B963-4BDB-B828-381DC9B66B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C896594-929C-42EF-9BEC-953B543831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6BBB662-4CAD-4255-B7E8-A2EE89F0ED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32DEA9B-0632-43F7-A71D-B271A3369F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92E194E-85B2-4948-A033-CE9A651D42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EFDC2FA-AD7B-4AD1-A002-1124E1012D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D283E02-D03C-4217-892B-52B06575CD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50FD822-E9B1-4AD2-AE5D-AB3EE2A69C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F1AE8D5-DC84-47AA-A054-373895A6EA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DA79427-09F2-4736-BFB3-B0BDD48F48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738B70D-918E-42CC-9169-BC4EC70E5D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17B6CF5-C941-4949-AF3F-4C42BA5803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01F5FEA-4318-40A5-AF3F-EF810C5BDC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4CE4155-2890-4693-A47E-CC63E88FA0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73D38C5-6EA2-4CA6-B9C0-C102DC2E57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64A05F1-88EE-478F-9629-CED8A77F84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23F9672-7FEE-48A6-8F10-00CF985584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5C634FB-403C-4A88-B424-44FF37C5FA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22E60A2-F5B8-4558-B468-EFF66D47B7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0D76964-E874-4E0F-B604-99AE703835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B266840-2E96-445E-8752-49CA388F5D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2B293A1-35F3-47ED-B097-47BC4FF0AD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337614B-4A51-4EFF-A13D-94967D05E8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7F5466D-5BA1-476C-AD6D-633DB489C6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EFD934F-1504-4B21-978B-EBFFAC2EA9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1914EB6-6EBF-4212-A4EC-156FD4B9BC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B2F7E7C-D1FA-4FB0-AF20-EF5B766263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56D8AC2-1545-4A2F-8AFF-8B565394DB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51C9AB3-8CD5-4DEE-8A56-A6897A066F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8317F11-38CD-4EB1-8D97-38063F4C01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BBE5D18-10FB-40E7-83F4-75FA77088C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EEDA173-F1FC-4DB0-A922-22BFF1D11C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260C94D-94AD-4B66-9E00-40C94FC32F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5B2BEFE-D638-42E5-91A5-E48DC6277F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05331AB-EDF1-410F-832F-7597B82EF2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5E226F1-DFEB-4601-A830-1688F1043C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F9A176D-D8F7-46C5-99D4-F48BF269F8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F1CC1E0-B450-4123-B510-2F294B223C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2308FBE-BE1D-4FB8-AB67-66289C56BD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741D4AD-F99C-4E72-A058-C7D1E6904C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011AF64-7EEA-444F-8A83-C2DE582703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330BF52-F663-48FE-A604-06833D6B94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E0AB769-FA9B-4226-8501-2F7256006C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FEB478F-8C9F-4587-97AE-2D1EA6D3C2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67917B6-7969-461A-8F4B-DF10FEB703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6163FEA-8AE5-4C3E-8835-9727D3650A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6428945-62FA-4856-93B2-06A7F2C0C7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415F04E-2FA7-4350-AC94-F10679B705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7F16C6E-D31A-4362-80D0-29570B7CA8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0B29325-D20D-4C9B-999E-3FEB81BF70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D8E070C-28F1-45AD-9324-B7E010CD7C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825583C-12B4-4794-B26E-011CFBD522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D6C1B3B-233E-4782-B3D5-D01FE7168A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9D6F7FF-444B-4017-9569-A9229546E6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5E2E1DC-3D0F-4FAE-A53E-0B357A79F6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06076CC-39DF-4802-8994-770A0C9F37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8D90266-A039-4F0E-9342-6DDC135A8B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8F80EAB-0415-4B96-B058-A5D78B91E0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69B51AA-16C4-402A-9C6B-764A159B0C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4D73293-C44A-4933-94A7-2875E5BF78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CAA0E26-6933-4CD1-9BF1-CFBB807000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CDA4189-A3F5-48A1-9B3F-D97FC8CC36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7E00D60-3309-4FB6-A160-06AE60699E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F960EB3-4B32-4CBF-83EC-F9448CD102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36B68D8-E551-4055-A735-A630A42905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A43A945-B524-4295-B76B-E9B28CED1A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DDD94A1-DA01-4EE4-B624-F991F4A16C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83FD4D3-56FF-476E-B44E-76E8FF24B7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BC6CC88-814A-4114-8769-883F6BAB15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C6056AC-65BA-49AF-9F0F-C2171EBF5F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1E99631-A69E-4B41-955F-600F2FC35E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4AABDE7-8874-4DFB-8AAF-AF9D7AEFB9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B4BB492-E6BB-4F2C-928C-E3FE545E81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8964A27-3DA4-40BF-9ADB-53E614BE48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F87381D-DD5E-480D-A6DE-1BA64D805A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F27A010-6544-46A5-802E-2A8BED5782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01145EF0-98AF-44A6-B30B-42B41CB82F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3F56F883-C11F-49CF-89B8-4F14EE521C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76E4308D-CB9B-459E-BE25-CD9A26032C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ADB2D8ED-2713-4CC1-BB89-CE1A1325B3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D4BD96B6-ACA6-4A7E-AC33-1E3B3D34D3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1F5FB8A1-24BD-4748-B6DE-CC2738D49A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39240910-2E79-4470-9982-FD67317A73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B6E6A9DD-65CD-4D9E-98C8-129DA9291A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FCDF521-EABB-442F-8A21-19C5AE52A4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06EEC91-111D-4BBC-923E-BB33DAA43E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045333A-8804-48EB-B6CA-A038B53904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8A55011-6A36-4C1E-97EA-CC363510DC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B1F6D15-B951-4B92-9288-2BFC2CA644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9C6CC76-F8CA-458C-A996-9D645BB577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408682C-B4E1-473C-A920-307EDED6BB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FE1D5D0-0618-44AE-8842-226784AF93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3E21C4A-A8CF-4044-81FC-767A7960FA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4CF627E-7B28-4EBC-9C45-844181B72A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45D5F8D-9BFF-43BC-BD9E-9F2ABD4B72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7F16780-DED0-416A-8A1D-4800CB7B2B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14E2A2F-FC23-4520-B4E1-6DA70FB531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79320BC-DE32-40BE-B629-92F31D28AD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B81959D-2AEE-4BC5-95CB-4CE4F68A7E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2006BF5-D04A-4EE3-A797-E979059666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4F203C6-2813-458D-B1F6-85EB2B57F7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3E053A8-3396-4F34-B5CD-5BD34655CF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5201F5D-48EB-4ABC-A4BA-62948201A5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14A84E0-DDD1-443F-BF1D-3DA4610579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0C99007-151B-45F2-93D1-D5D63CB1AC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0C6BC03-FE34-4483-B456-73CFF7B4FC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3EB20DA-E0CE-47ED-91FF-307A0F3D56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EAE9519-48F9-4B49-9ADD-B3885D0C8E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9D769DA-27BF-4CF9-B191-65625CC491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CAE2B85-E5D8-469C-B549-7B4550B41E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97BFF45-4FBA-4D6A-9140-B5BF75AD22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09A8346-F43A-4C1B-AE96-1BCA3BDE21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DE400B6-0C47-4C9D-8F9E-8520B52411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48378AA-790F-4005-9703-1C695E9916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35DB627-1174-4921-A5F1-9DD8210DB9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49986B3-ED60-42D4-9F54-8B77630BD8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94623CF-22D9-4128-A3C1-493204C868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5EB171D-8F4E-412E-8D01-6D5E6ED68E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0FCCAC9-94FC-4931-928F-3300CB8365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564DA5F-A1B1-41F7-AAA9-8E8C61B08F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157AF60-19E8-4828-8A83-28173CB457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A1482FC-3030-4EBF-B55C-64E29848CE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FEF0008-7FC0-4FC5-AFAE-707592DCBA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E617516-46AF-403C-B59A-607E1C7329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49DD9E81-5092-4348-93B1-D5F7D55032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D128EA6D-3B7D-4CA5-8359-79684458DD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05D1691B-68E5-4BE6-9B01-C841683221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1E64CAF5-C920-4CF2-9BEF-3E77401BF9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D14F2E0A-4F8E-4763-B827-28C434EC07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50F7D67A-6544-446B-B5D1-AAFF188D71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2460CFBD-2A1A-4D03-AFF7-F23CAAF0D1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412810C9-45E6-4BE2-AFBD-0690220822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B8B9EBB5-4F9B-4B6A-97B3-6FE89D557C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C7F8B601-AAEA-4876-A96D-6A6893F1BB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7B997023-F3ED-497B-BDEB-E3977D95D8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3921D6EE-91A0-4859-B277-A9BA705090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1FFF7137-DB2E-4E45-A21A-73DB8A569B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B3E768B3-F606-4A10-9B86-EE3A3E0964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570DFDDC-C0E0-45D5-AEC1-A760C649B0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8DB71BAD-CA2A-4936-A672-D5D609EDBF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AEABA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9/09/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9/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9/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9/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9/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22.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23.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24.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25.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26.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27.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28.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2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30.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31.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32.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33.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34.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35.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36.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37.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38.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39.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40.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41.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42.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43.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44.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45.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46.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47.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48.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49.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50.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51.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52.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53.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54.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chart" Target="../charts/chart55.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chart" Target="../charts/chart56.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chart" Target="../charts/chart57.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chart" Target="../charts/chart58.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chart" Target="../charts/chart59.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chart" Target="../charts/chart60.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chart" Target="../charts/chart61.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chart" Target="../charts/chart62.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chart" Target="../charts/chart63.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7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8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8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8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8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8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8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8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8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8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8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9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6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6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6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6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6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6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7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7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7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7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7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7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7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7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7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chart" Target="../charts/chart7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chart" Target="../charts/chart8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8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chart" Target="../charts/chart8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chart" Target="../charts/chart8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chart" Target="../charts/chart8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chart" Target="../charts/chart8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chart" Target="../charts/chart8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114.xml"/><Relationship Id="rId6" Type="http://schemas.openxmlformats.org/officeDocument/2006/relationships/chart" Target="../charts/chart8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115.xml"/><Relationship Id="rId6" Type="http://schemas.openxmlformats.org/officeDocument/2006/relationships/chart" Target="../charts/chart8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116.xml"/><Relationship Id="rId6" Type="http://schemas.openxmlformats.org/officeDocument/2006/relationships/chart" Target="../charts/chart8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117.xml"/><Relationship Id="rId6" Type="http://schemas.openxmlformats.org/officeDocument/2006/relationships/chart" Target="../charts/chart9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118.xml"/><Relationship Id="rId6" Type="http://schemas.openxmlformats.org/officeDocument/2006/relationships/chart" Target="../charts/chart9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119.xml"/><Relationship Id="rId6" Type="http://schemas.openxmlformats.org/officeDocument/2006/relationships/chart" Target="../charts/chart9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120.xml"/><Relationship Id="rId6" Type="http://schemas.openxmlformats.org/officeDocument/2006/relationships/chart" Target="../charts/chart93.xml"/><Relationship Id="rId5" Type="http://schemas.openxmlformats.org/officeDocument/2006/relationships/image" Target="../media/image29.emf"/><Relationship Id="rId4" Type="http://schemas.openxmlformats.org/officeDocument/2006/relationships/oleObject" Target="../embeddings/oleObject2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0219280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598270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187876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205540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258347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153635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509155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80021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630727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920449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094727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0686123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26221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137173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368422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04055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7999370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1017094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686002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9360698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834428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6863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7465432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5756623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780654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0043408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4903464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0687967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708419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9203148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6711771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1279477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653276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12577721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892937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0103150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3977919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0512479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0189384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5375610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8900462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1524820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9323782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20387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65736851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4967119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826290327"/>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2564"/>
            <a:ext cx="4869366" cy="179693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3025913"/>
            <a:ext cx="4869366" cy="3956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447961"/>
            <a:ext cx="4869366" cy="36104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835418"/>
            <a:ext cx="4869366" cy="4401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0768097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14540415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6557066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759325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85808804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13185616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41933216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80958374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4486300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24142107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63733961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16318252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09466460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dirty="0">
                          <a:solidFill>
                            <a:srgbClr val="575555"/>
                          </a:solidFill>
                          <a:latin typeface="Nexa Bold" panose="00000800000000000000" pitchFamily="2" charset="0"/>
                        </a:rPr>
                        <a:t>Body </a:t>
                      </a:r>
                    </a:p>
                    <a:p>
                      <a:r>
                        <a:rPr lang="en-US" sz="800" dirty="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2480420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7910725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9676422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3373409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6513520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1783891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2651224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06070417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2881338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3997658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6772563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6612360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7350653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9756359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4400401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5171229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926434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205138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8174416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6894843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3978074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3821857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5173254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5155390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0106765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8588536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2852499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49874656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76741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78727471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9233213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6369455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3155106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264369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0726F4B-CCCE-4FD7-AEEC-E1B68F2D26F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11916</Words>
  <Application>Microsoft Office PowerPoint</Application>
  <PresentationFormat>On-screen Show (16:9)</PresentationFormat>
  <Paragraphs>4239</Paragraphs>
  <Slides>93</Slides>
  <Notes>4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93</vt:i4>
      </vt:variant>
    </vt:vector>
  </HeadingPairs>
  <TitlesOfParts>
    <vt:vector size="103"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lpstr>Sectors Leadership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eaa SALAH</cp:lastModifiedBy>
  <cp:revision>55</cp:revision>
  <dcterms:created xsi:type="dcterms:W3CDTF">2024-07-05T14:56:51Z</dcterms:created>
  <dcterms:modified xsi:type="dcterms:W3CDTF">2025-09-09T09:05: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